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2" r:id="rId1"/>
  </p:sldMasterIdLst>
  <p:notesMasterIdLst>
    <p:notesMasterId r:id="rId6"/>
  </p:notesMasterIdLst>
  <p:handoutMasterIdLst>
    <p:handoutMasterId r:id="rId7"/>
  </p:handoutMasterIdLst>
  <p:sldIdLst>
    <p:sldId id="1390" r:id="rId2"/>
    <p:sldId id="1391" r:id="rId3"/>
    <p:sldId id="1392" r:id="rId4"/>
    <p:sldId id="1394" r:id="rId5"/>
  </p:sldIdLst>
  <p:sldSz cx="9144000" cy="5143500" type="screen16x9"/>
  <p:notesSz cx="10236200" cy="7099300"/>
  <p:custDataLst>
    <p:tags r:id="rId8"/>
  </p:custDataLst>
  <p:defaultTextStyle>
    <a:defPPr>
      <a:defRPr lang="en-US"/>
    </a:defPPr>
    <a:lvl1pPr marL="0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6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3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8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4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9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5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6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235" userDrawn="1">
          <p15:clr>
            <a:srgbClr val="A4A3A4"/>
          </p15:clr>
        </p15:guide>
        <p15:guide id="2" pos="32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0000"/>
    <a:srgbClr val="009900"/>
    <a:srgbClr val="008000"/>
    <a:srgbClr val="CC0000"/>
    <a:srgbClr val="FFFF66"/>
    <a:srgbClr val="FF3737"/>
    <a:srgbClr val="FF6699"/>
    <a:srgbClr val="EA0000"/>
    <a:srgbClr val="663300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8391" autoAdjust="0"/>
    <p:restoredTop sz="87993" autoAdjust="0"/>
  </p:normalViewPr>
  <p:slideViewPr>
    <p:cSldViewPr>
      <p:cViewPr>
        <p:scale>
          <a:sx n="70" d="100"/>
          <a:sy n="70" d="100"/>
        </p:scale>
        <p:origin x="-1938" y="-3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48" d="100"/>
          <a:sy n="48" d="100"/>
        </p:scale>
        <p:origin x="2898" y="66"/>
      </p:cViewPr>
      <p:guideLst>
        <p:guide orient="horz" pos="2235"/>
        <p:guide pos="32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4435369" cy="354908"/>
          </a:xfrm>
          <a:prstGeom prst="rect">
            <a:avLst/>
          </a:prstGeom>
        </p:spPr>
        <p:txBody>
          <a:bodyPr vert="horz" lIns="93855" tIns="46928" rIns="93855" bIns="4692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8453" y="2"/>
            <a:ext cx="4435369" cy="354908"/>
          </a:xfrm>
          <a:prstGeom prst="rect">
            <a:avLst/>
          </a:prstGeom>
        </p:spPr>
        <p:txBody>
          <a:bodyPr vert="horz" lIns="93855" tIns="46928" rIns="93855" bIns="46928" rtlCol="0"/>
          <a:lstStyle>
            <a:lvl1pPr algn="r">
              <a:defRPr sz="1200"/>
            </a:lvl1pPr>
          </a:lstStyle>
          <a:p>
            <a:fld id="{1914D273-1464-40D3-8BC2-8D68B08C12EA}" type="datetimeFigureOut">
              <a:rPr lang="en-US" smtClean="0"/>
              <a:pPr/>
              <a:t>11/3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6743261"/>
            <a:ext cx="4435369" cy="354907"/>
          </a:xfrm>
          <a:prstGeom prst="rect">
            <a:avLst/>
          </a:prstGeom>
        </p:spPr>
        <p:txBody>
          <a:bodyPr vert="horz" lIns="93855" tIns="46928" rIns="93855" bIns="4692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8453" y="6743261"/>
            <a:ext cx="4435369" cy="354907"/>
          </a:xfrm>
          <a:prstGeom prst="rect">
            <a:avLst/>
          </a:prstGeom>
        </p:spPr>
        <p:txBody>
          <a:bodyPr vert="horz" lIns="93855" tIns="46928" rIns="93855" bIns="46928" rtlCol="0" anchor="b"/>
          <a:lstStyle>
            <a:lvl1pPr algn="r">
              <a:defRPr sz="1200"/>
            </a:lvl1pPr>
          </a:lstStyle>
          <a:p>
            <a:fld id="{D3C56EC9-545C-4E1F-B194-2635431270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916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4435689" cy="354965"/>
          </a:xfrm>
          <a:prstGeom prst="rect">
            <a:avLst/>
          </a:prstGeom>
        </p:spPr>
        <p:txBody>
          <a:bodyPr vert="horz" lIns="93855" tIns="46928" rIns="93855" bIns="4692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8150" y="2"/>
            <a:ext cx="4435689" cy="354965"/>
          </a:xfrm>
          <a:prstGeom prst="rect">
            <a:avLst/>
          </a:prstGeom>
        </p:spPr>
        <p:txBody>
          <a:bodyPr vert="horz" lIns="93855" tIns="46928" rIns="93855" bIns="46928" rtlCol="0"/>
          <a:lstStyle>
            <a:lvl1pPr algn="r">
              <a:defRPr sz="1200"/>
            </a:lvl1pPr>
          </a:lstStyle>
          <a:p>
            <a:fld id="{B0A03819-BBCC-4282-BFD1-494902FCC532}" type="datetimeFigureOut">
              <a:rPr lang="en-US" smtClean="0"/>
              <a:pPr/>
              <a:t>11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54313" y="533400"/>
            <a:ext cx="4727575" cy="2659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855" tIns="46928" rIns="93855" bIns="4692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620" y="3372168"/>
            <a:ext cx="8188960" cy="3194685"/>
          </a:xfrm>
          <a:prstGeom prst="rect">
            <a:avLst/>
          </a:prstGeom>
        </p:spPr>
        <p:txBody>
          <a:bodyPr vert="horz" lIns="93855" tIns="46928" rIns="93855" bIns="4692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6743105"/>
            <a:ext cx="4435689" cy="354965"/>
          </a:xfrm>
          <a:prstGeom prst="rect">
            <a:avLst/>
          </a:prstGeom>
        </p:spPr>
        <p:txBody>
          <a:bodyPr vert="horz" lIns="93855" tIns="46928" rIns="93855" bIns="4692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8150" y="6743105"/>
            <a:ext cx="4435689" cy="354965"/>
          </a:xfrm>
          <a:prstGeom prst="rect">
            <a:avLst/>
          </a:prstGeom>
        </p:spPr>
        <p:txBody>
          <a:bodyPr vert="horz" lIns="93855" tIns="46928" rIns="93855" bIns="46928" rtlCol="0" anchor="b"/>
          <a:lstStyle>
            <a:lvl1pPr algn="r">
              <a:defRPr sz="1200"/>
            </a:lvl1pPr>
          </a:lstStyle>
          <a:p>
            <a:fld id="{39754954-D55B-4540-A6CE-DAB6797D7F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68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66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33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98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64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29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5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6" algn="l" defTabSz="91433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66800" y="205978"/>
            <a:ext cx="6705600" cy="5369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Bangla MN"/>
                <a:cs typeface="Bangla MN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1763688" y="4011910"/>
            <a:ext cx="2133600" cy="273844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4869656"/>
            <a:ext cx="2133600" cy="273844"/>
          </a:xfrm>
          <a:prstGeom prst="rect">
            <a:avLst/>
          </a:prstGeom>
          <a:ln/>
        </p:spPr>
        <p:txBody>
          <a:bodyPr/>
          <a:lstStyle>
            <a:lvl1pPr algn="r">
              <a:defRPr sz="1000"/>
            </a:lvl1pPr>
          </a:lstStyle>
          <a:p>
            <a:pPr>
              <a:defRPr/>
            </a:pPr>
            <a:fld id="{5A34EBDE-631B-4B0D-B599-FFF96674C42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493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5286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4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1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7584" y="33469"/>
            <a:ext cx="7859216" cy="529568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SG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2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333" rtl="0" eaLnBrk="1" latinLnBrk="0" hangingPunct="1">
        <a:spcBef>
          <a:spcPct val="0"/>
        </a:spcBef>
        <a:buNone/>
        <a:defRPr sz="2400" b="1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75" indent="-342875" algn="l" defTabSz="91433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5" indent="-285729" algn="l" defTabSz="91433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5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2" algn="l" defTabSz="91433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6" indent="-228582" algn="l" defTabSz="91433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1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hyperlink" Target="http://www.google.com.sg/url?sa=i&amp;rct=j&amp;q=&amp;esrc=s&amp;source=images&amp;cd=&amp;cad=rja&amp;uact=8&amp;ved=0ahUKEwj414DP47LXAhXFsY8KHV-3B8kQjRwIBw&amp;url=http://www.graphicart-news.com/lovely-font-and-vectors-for-free-download/&amp;psig=AOvVaw1rHDRG92vVKUU6DAWKGzW1&amp;ust=1510360978919039" TargetMode="External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12" Type="http://schemas.openxmlformats.org/officeDocument/2006/relationships/image" Target="../media/image10.jpeg"/><Relationship Id="rId2" Type="http://schemas.openxmlformats.org/officeDocument/2006/relationships/hyperlink" Target="http://www.google.com.sg/url?sa=i&amp;rct=j&amp;q=&amp;esrc=s&amp;source=images&amp;cd=&amp;cad=rja&amp;uact=8&amp;ved=0ahUKEwjKpOPd47LXAhUKL48KHRBvDqwQjRwIBw&amp;url=http://www.cornerstorkbabygifts.com/blog/2013/03/02/kids-room-decorating-idea-hipster-details/&amp;psig=AOvVaw1rHDRG92vVKUU6DAWKGzW1&amp;ust=1510360978919039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hyperlink" Target="https://www.google.com.sg/url?sa=i&amp;rct=j&amp;q=&amp;esrc=s&amp;source=images&amp;cd=&amp;cad=rja&amp;uact=8&amp;ved=0ahUKEwjD46yl47LXAhXEs48KHfwABJ8QjRwIBw&amp;url=https://www.pinterest.com/pin/329607266454667761/&amp;psig=AOvVaw1rHDRG92vVKUU6DAWKGzW1&amp;ust=1510360978919039" TargetMode="External"/><Relationship Id="rId5" Type="http://schemas.openxmlformats.org/officeDocument/2006/relationships/image" Target="../media/image4.jpeg"/><Relationship Id="rId10" Type="http://schemas.openxmlformats.org/officeDocument/2006/relationships/image" Target="../media/image9.jpeg"/><Relationship Id="rId4" Type="http://schemas.openxmlformats.org/officeDocument/2006/relationships/image" Target="../media/image3.jpeg"/><Relationship Id="rId9" Type="http://schemas.openxmlformats.org/officeDocument/2006/relationships/image" Target="../media/image8.jpeg"/><Relationship Id="rId1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hyperlink" Target="https://www.google.com.sg/url?sa=i&amp;rct=j&amp;q=&amp;esrc=s&amp;source=images&amp;cd=&amp;cad=rja&amp;uact=8&amp;ved=0ahUKEwil5J3g4rLXAhUGKY8KHfRAAhwQjRwIBw&amp;url=https://www.pinterest.com/ortorovao/container-stores/&amp;psig=AOvVaw1VxiJvNA6pZ03oV2EtEDlP&amp;ust=1510360840275497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5.jpeg"/><Relationship Id="rId7" Type="http://schemas.openxmlformats.org/officeDocument/2006/relationships/hyperlink" Target="http://www.google.com.sg/url?sa=i&amp;rct=j&amp;q=&amp;esrc=s&amp;source=images&amp;cd=&amp;cad=rja&amp;uact=8&amp;ved=0ahUKEwiJvL-t4bLXAhWBQ48KHaarD18QjRwIBw&amp;url=http://www.neatorama.com/2013/06/24/10-Ways-to-Upcycle-Old-Crutches/&amp;psig=AOvVaw0q1as_bAQBaMTSxfIFSmcf&amp;ust=1510360276187667" TargetMode="External"/><Relationship Id="rId2" Type="http://schemas.openxmlformats.org/officeDocument/2006/relationships/hyperlink" Target="https://www.google.com.sg/url?sa=i&amp;rct=j&amp;q=&amp;esrc=s&amp;source=images&amp;cd=&amp;cad=rja&amp;uact=8&amp;ved=0ahUKEwinvIKU4bLXAhXGPY8KHS-UBtEQjRwIBw&amp;url=https://waterstories.nestle-waters.com/environment/ways-to-upcycle-plastic-water-bottles/&amp;psig=AOvVaw0q1as_bAQBaMTSxfIFSmcf&amp;ust=1510360276187667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hyperlink" Target="http://www.google.com.sg/url?sa=i&amp;rct=j&amp;q=&amp;esrc=s&amp;source=images&amp;cd=&amp;cad=rja&amp;uact=8&amp;ved=0ahUKEwiJvL-t4bLXAhWBQ48KHaarD18QjRwIBw&amp;url=http://www.diynetwork.com/how-to/packages/upcycling&amp;psig=AOvVaw0q1as_bAQBaMTSxfIFSmcf&amp;ust=1510360276187667" TargetMode="External"/><Relationship Id="rId10" Type="http://schemas.openxmlformats.org/officeDocument/2006/relationships/image" Target="../media/image19.jpeg"/><Relationship Id="rId4" Type="http://schemas.openxmlformats.org/officeDocument/2006/relationships/image" Target="../media/image16.jpeg"/><Relationship Id="rId9" Type="http://schemas.openxmlformats.org/officeDocument/2006/relationships/hyperlink" Target="http://www.google.com.sg/url?sa=i&amp;rct=j&amp;q=&amp;esrc=s&amp;source=images&amp;cd=&amp;cad=rja&amp;uact=8&amp;ved=0ahUKEwiJvL-t4bLXAhWBQ48KHaarD18QjRwIBw&amp;url=http://www.amazinginteriordesign.com/5-incredible-ideas-repurpose-bicycle-wheels/&amp;psig=AOvVaw0q1as_bAQBaMTSxfIFSmcf&amp;ust=1510360276187667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com.sg/url?sa=i&amp;rct=j&amp;q=&amp;esrc=s&amp;source=images&amp;cd=&amp;cad=rja&amp;uact=8&amp;ved=0ahUKEwiQztDS5LLXAhWI6Y8KHa3xADAQjRwIBw&amp;url=http://www.antiquesandinteriors.co.nz/antiques-for-sale/royal-fruit-farm-wooden-crates&amp;psig=AOvVaw1oVquKhPnvZMRNmnhfkSRb&amp;ust=1510361288284345" TargetMode="External"/><Relationship Id="rId13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2.jpeg"/><Relationship Id="rId12" Type="http://schemas.openxmlformats.org/officeDocument/2006/relationships/hyperlink" Target="https://www.google.com.sg/url?sa=i&amp;rct=j&amp;q=&amp;esrc=s&amp;source=images&amp;cd=&amp;cad=rja&amp;uact=8&amp;ved=0ahUKEwiMyvPu5LLXAhUIK48KHTwuCFQQjRwIBw&amp;url=https://www.giftloft.co.nz/collections/end-of-season-sale&amp;psig=AOvVaw1oVquKhPnvZMRNmnhfkSRb&amp;ust=1510361288284345" TargetMode="External"/><Relationship Id="rId2" Type="http://schemas.openxmlformats.org/officeDocument/2006/relationships/hyperlink" Target="https://www.google.com.sg/url?sa=i&amp;rct=j&amp;q=&amp;esrc=s&amp;source=images&amp;cd=&amp;cad=rja&amp;uact=8&amp;ved=0ahUKEwjp_-m55LLXAhUDs48KHdeWAbEQjRwIBw&amp;url=https://bigbarrel.co.nz/en/abc-empty-crate&amp;psig=AOvVaw1oVquKhPnvZMRNmnhfkSRb&amp;ust=1510361288284345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oogle.com.sg/url?sa=i&amp;rct=j&amp;q=&amp;esrc=s&amp;source=images&amp;cd=&amp;cad=rja&amp;uact=8&amp;ved=0ahUKEwiAsezK5LLXAhULNo8KHQvFCVQQjRwIBw&amp;url=http://www.boxit.co.nz/catalog/gift-boxes-gift-baskets-hampers-c-46.html&amp;psig=AOvVaw1oVquKhPnvZMRNmnhfkSRb&amp;ust=1510361288284345" TargetMode="External"/><Relationship Id="rId11" Type="http://schemas.openxmlformats.org/officeDocument/2006/relationships/image" Target="../media/image24.jpeg"/><Relationship Id="rId5" Type="http://schemas.openxmlformats.org/officeDocument/2006/relationships/image" Target="../media/image21.jpeg"/><Relationship Id="rId10" Type="http://schemas.openxmlformats.org/officeDocument/2006/relationships/hyperlink" Target="https://www.google.com.sg/url?sa=i&amp;rct=j&amp;q=&amp;esrc=s&amp;source=images&amp;cd=&amp;cad=rja&amp;uact=8&amp;ved=0ahUKEwjO6o3d5LLXAhXKKo8KHV5PAMAQjRwIBw&amp;url=https://www.pinterest.com/VintageTravelCo/vintage-nz-style/&amp;psig=AOvVaw1oVquKhPnvZMRNmnhfkSRb&amp;ust=1510361288284345" TargetMode="External"/><Relationship Id="rId4" Type="http://schemas.openxmlformats.org/officeDocument/2006/relationships/hyperlink" Target="http://www.google.com.sg/url?sa=i&amp;rct=j&amp;q=&amp;esrc=s&amp;source=images&amp;cd=&amp;cad=rja&amp;uact=8&amp;ved=0ahUKEwiuk5eD5LLXAhXGo48KHdweBaYQjRwIBw&amp;url=http://www.meetingscanada.com/gifts-gear/hipster-basics-gift-basket/hipster-basket-photoweb/&amp;psig=AOvVaw0Fa1iCGiFvI5z80wJ_ZJbE&amp;ust=1510361163016427" TargetMode="External"/><Relationship Id="rId9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5956" name="Picture 20" descr="Image result for hipster colours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4021" y="3163771"/>
            <a:ext cx="1821582" cy="1040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38" name="Picture 2" descr="Image result for hipster farm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84" y="3771434"/>
            <a:ext cx="2155236" cy="1214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40" name="Picture 4" descr="Image result for hipster farm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732011"/>
            <a:ext cx="3468539" cy="2312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42" name="Picture 6" descr="Image result for hipster farm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34" y="786255"/>
            <a:ext cx="1585388" cy="248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44" name="Picture 8" descr="Image result for urban farmer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620" y="2822864"/>
            <a:ext cx="3240360" cy="1216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Image result for hipster imagery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03" r="3225"/>
          <a:stretch/>
        </p:blipFill>
        <p:spPr bwMode="auto">
          <a:xfrm>
            <a:off x="6269029" y="0"/>
            <a:ext cx="2874971" cy="205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Image result for hipster imagery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695" y="1491630"/>
            <a:ext cx="2657475" cy="277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50" name="Picture 14" descr="Best Free Hipster Fonts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2254" y="3744306"/>
            <a:ext cx="1884363" cy="1241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52" name="Picture 16" descr="Image result for hipster colours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186" y="3537982"/>
            <a:ext cx="1440160" cy="1458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54" name="Picture 18" descr="Image result for hipster colours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546395"/>
            <a:ext cx="1380207" cy="1380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50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34EBDE-631B-4B0D-B599-FFF96674C428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pic>
        <p:nvPicPr>
          <p:cNvPr id="296966" name="Picture 6" descr="Image result for waterview coffee projec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6071" y="2381085"/>
            <a:ext cx="3146283" cy="2595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8" name="Picture 8" descr="Image result for waterview coffee projec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7546" y="123478"/>
            <a:ext cx="2863334" cy="214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76" name="Picture 16" descr="Image result for waterview auckland shops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439845"/>
            <a:ext cx="4935950" cy="3703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770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34EBDE-631B-4B0D-B599-FFF96674C42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5" name="Picture 14" descr="Image result for upcycl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40738"/>
            <a:ext cx="2843808" cy="146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Image result for upcycl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090" y="138711"/>
            <a:ext cx="3576318" cy="2145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86" name="Picture 2" descr="Image result for upcycle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32" y="2445180"/>
            <a:ext cx="3443872" cy="2582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88" name="Picture 4" descr="Related imag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455106"/>
            <a:ext cx="1944216" cy="2593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0" name="Picture 6" descr="Related image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3110013"/>
            <a:ext cx="2817877" cy="193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332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34EBDE-631B-4B0D-B599-FFF96674C42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299010" name="Picture 2" descr="Image result for wooden crates for sale auckland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923678"/>
            <a:ext cx="2605087" cy="2605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8" descr="Image result for hipster basket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04" t="52860" r="28159" b="13979"/>
          <a:stretch/>
        </p:blipFill>
        <p:spPr bwMode="auto">
          <a:xfrm>
            <a:off x="251520" y="301770"/>
            <a:ext cx="2160240" cy="1118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2" name="Picture 4" descr="Image result for wooden crates for sale auckland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3221247"/>
            <a:ext cx="1829916" cy="1787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4" name="Picture 6" descr="Image result for wooden crates for sale auckland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3762066"/>
            <a:ext cx="1769293" cy="1183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6" name="Picture 8" descr="Image result for wooden crates for sale auckland">
            <a:hlinkClick r:id="rId10"/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18" b="7155"/>
          <a:stretch/>
        </p:blipFill>
        <p:spPr bwMode="auto">
          <a:xfrm>
            <a:off x="6740945" y="1563638"/>
            <a:ext cx="2039914" cy="2027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8" name="Picture 10" descr="Image result for wooden crates for sale auckland">
            <a:hlinkClick r:id="rId12"/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28" r="29959"/>
          <a:stretch/>
        </p:blipFill>
        <p:spPr bwMode="auto">
          <a:xfrm>
            <a:off x="5220072" y="2877587"/>
            <a:ext cx="1236443" cy="2067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144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2&quot;&gt;&lt;elem m_fUsage=&quot;4.22579511000000090000E+000&quot;&gt;&lt;m_msothmcolidx val=&quot;0&quot;/&gt;&lt;m_rgb r=&quot;60&quot; g=&quot;d7&quot; b=&quot;2d&quot;/&gt;&lt;m_ppcolschidx tagver0=&quot;23004&quot; tagname0=&quot;m_ppcolschidxUNRECOGNIZED&quot; val=&quot;0&quot;/&gt;&lt;m_nBrightness val=&quot;0&quot;/&gt;&lt;/elem&gt;&lt;elem m_fUsage=&quot;2.28742048900000050000E+000&quot;&gt;&lt;m_msothmcolidx val=&quot;0&quot;/&gt;&lt;m_rgb r=&quot;dc&quot; g=&quot;28&quot; b=&quot;28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337</TotalTime>
  <Words>3</Words>
  <Application>Microsoft Office PowerPoint</Application>
  <PresentationFormat>On-screen Show (16:9)</PresentationFormat>
  <Paragraphs>3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ion.pong</dc:creator>
  <cp:lastModifiedBy>Mayson, Ben</cp:lastModifiedBy>
  <cp:revision>3078</cp:revision>
  <cp:lastPrinted>2017-08-10T02:01:37Z</cp:lastPrinted>
  <dcterms:created xsi:type="dcterms:W3CDTF">2013-03-31T08:51:23Z</dcterms:created>
  <dcterms:modified xsi:type="dcterms:W3CDTF">2017-11-30T03:16:46Z</dcterms:modified>
</cp:coreProperties>
</file>